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461" r:id="rId5"/>
    <p:sldId id="639" r:id="rId6"/>
    <p:sldId id="872" r:id="rId7"/>
    <p:sldId id="873" r:id="rId8"/>
    <p:sldId id="877" r:id="rId9"/>
    <p:sldId id="874" r:id="rId10"/>
    <p:sldId id="875" r:id="rId11"/>
    <p:sldId id="876" r:id="rId12"/>
    <p:sldId id="734" r:id="rId13"/>
    <p:sldId id="364" r:id="rId14"/>
  </p:sldIdLst>
  <p:sldSz cx="9144000" cy="6858000" type="screen4x3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3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17">
          <p15:clr>
            <a:srgbClr val="A4A3A4"/>
          </p15:clr>
        </p15:guide>
        <p15:guide id="4" orient="horz" pos="4196">
          <p15:clr>
            <a:srgbClr val="A4A3A4"/>
          </p15:clr>
        </p15:guide>
        <p15:guide id="5" orient="horz" pos="3874">
          <p15:clr>
            <a:srgbClr val="A4A3A4"/>
          </p15:clr>
        </p15:guide>
        <p15:guide id="6" orient="horz" pos="2083">
          <p15:clr>
            <a:srgbClr val="A4A3A4"/>
          </p15:clr>
        </p15:guide>
        <p15:guide id="7" orient="horz" pos="697">
          <p15:clr>
            <a:srgbClr val="A4A3A4"/>
          </p15:clr>
        </p15:guide>
        <p15:guide id="8" pos="2775">
          <p15:clr>
            <a:srgbClr val="A4A3A4"/>
          </p15:clr>
        </p15:guide>
        <p15:guide id="9" pos="3000">
          <p15:clr>
            <a:srgbClr val="A4A3A4"/>
          </p15:clr>
        </p15:guide>
        <p15:guide id="10" pos="282">
          <p15:clr>
            <a:srgbClr val="A4A3A4"/>
          </p15:clr>
        </p15:guide>
        <p15:guide id="11" pos="2880">
          <p15:clr>
            <a:srgbClr val="A4A3A4"/>
          </p15:clr>
        </p15:guide>
        <p15:guide id="12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IGGEJ" initials="K" lastIdx="1" clrIdx="0"/>
  <p:cmAuthor id="1" name="SMEETSK" initials="S" lastIdx="1" clrIdx="1"/>
  <p:cmAuthor id="2" name="Ruud Lemmers" initials="RL" lastIdx="3" clrIdx="2"/>
  <p:cmAuthor id="3" name="pdreessen" initials="p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1CE0"/>
    <a:srgbClr val="4055BC"/>
    <a:srgbClr val="546EA8"/>
    <a:srgbClr val="657697"/>
    <a:srgbClr val="5B9AA1"/>
    <a:srgbClr val="6645B7"/>
    <a:srgbClr val="921E3A"/>
    <a:srgbClr val="CDC800"/>
    <a:srgbClr val="FFFF00"/>
    <a:srgbClr val="2D2B2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77" autoAdjust="0"/>
    <p:restoredTop sz="94505" autoAdjust="0"/>
  </p:normalViewPr>
  <p:slideViewPr>
    <p:cSldViewPr>
      <p:cViewPr>
        <p:scale>
          <a:sx n="80" d="100"/>
          <a:sy n="80" d="100"/>
        </p:scale>
        <p:origin x="-1536" y="-378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43" y="5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1" d="100"/>
        <a:sy n="51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3132"/>
        <p:guide pos="214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US" smtClean="0">
                <a:latin typeface="Arial" pitchFamily="34" charset="0"/>
              </a:rPr>
              <a:pPr/>
              <a:t>7/18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9342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US" smtClean="0"/>
              <a:pPr/>
              <a:t>7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16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5018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909" b="12591"/>
          <a:stretch/>
        </p:blipFill>
        <p:spPr bwMode="auto">
          <a:xfrm>
            <a:off x="9" y="0"/>
            <a:ext cx="9246721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</a:t>
            </a:r>
            <a:br>
              <a:rPr lang="en-US" noProof="0" smtClean="0"/>
            </a:br>
            <a:r>
              <a:rPr lang="en-US" noProof="0" smtClean="0"/>
              <a:t>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1"/>
            <a:ext cx="2531443" cy="1939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CGI Group Inc. CONFIDENTIA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62500" y="1325563"/>
            <a:ext cx="3924300" cy="4835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47675" y="2508250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small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325563"/>
            <a:ext cx="1844675" cy="482758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Text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/>
          </p:nvPr>
        </p:nvSpPr>
        <p:spPr>
          <a:xfrm>
            <a:off x="447674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19" name="Group 18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20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noProof="0" smtClean="0"/>
              <a:t>Click to enter text</a:t>
            </a:r>
            <a:endParaRPr lang="en-US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 for sales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25227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hank you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28" name="Picture 27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8" name="Group 37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4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440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40" name="Picture 2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4371" b="28907"/>
          <a:stretch/>
        </p:blipFill>
        <p:spPr bwMode="auto">
          <a:xfrm>
            <a:off x="0" y="1898151"/>
            <a:ext cx="9143980" cy="290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racle.com/javafx/2/api/javafx/scene/doc-files/cssref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dvin/fxlauncher" TargetMode="External"/><Relationship Id="rId2" Type="http://schemas.openxmlformats.org/officeDocument/2006/relationships/hyperlink" Target="http://docs.oracle.com/javafx/2/get_started/basic_deployment.htm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duarddrenth/iText-GUI.git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avaF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2400" i="1" dirty="0" smtClean="0"/>
              <a:t>(not so) new GUI for Java</a:t>
            </a:r>
            <a:endParaRPr lang="en-US" sz="2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1 </a:t>
            </a:r>
            <a:r>
              <a:rPr lang="en-US" dirty="0" err="1" smtClean="0"/>
              <a:t>Juli</a:t>
            </a:r>
            <a:r>
              <a:rPr lang="en-US" dirty="0" smtClean="0"/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xmlns="" val="369787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r commitment to you</a:t>
            </a:r>
            <a:br>
              <a:rPr lang="en-US" dirty="0" smtClean="0"/>
            </a:br>
            <a:r>
              <a:rPr lang="en-US" sz="2800" dirty="0" smtClean="0">
                <a:solidFill>
                  <a:schemeClr val="tx1"/>
                </a:solidFill>
              </a:rPr>
              <a:t>We approach every engagement with one objective in mind: to help clients succeed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0" y="5011082"/>
            <a:ext cx="9143999" cy="115208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144000" tIns="46797" rIns="144000" bIns="46797" rtlCol="0" anchor="ctr">
            <a:noAutofit/>
          </a:bodyPr>
          <a:lstStyle/>
          <a:p>
            <a:pPr marL="266700" defTabSz="914357">
              <a:buClr>
                <a:srgbClr val="FFFFFF"/>
              </a:buClr>
              <a:buSzPct val="110000"/>
              <a:defRPr/>
            </a:pPr>
            <a:r>
              <a:rPr lang="de-DE" sz="3200" dirty="0">
                <a:solidFill>
                  <a:srgbClr val="FFFFFF"/>
                </a:solidFill>
              </a:rPr>
              <a:t>CGI in collaboration with you.</a:t>
            </a:r>
          </a:p>
        </p:txBody>
      </p:sp>
      <p:sp>
        <p:nvSpPr>
          <p:cNvPr id="22" name="Rechteck 21"/>
          <p:cNvSpPr/>
          <p:nvPr>
            <p:custDataLst>
              <p:tags r:id="rId2"/>
            </p:custDataLst>
          </p:nvPr>
        </p:nvSpPr>
        <p:spPr bwMode="gray">
          <a:xfrm>
            <a:off x="304800" y="990600"/>
            <a:ext cx="8534400" cy="381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Intro /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diner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17:30 – 18:30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Overview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Custom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component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trength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weaknesse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nteroperability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Manageability</a:t>
            </a:r>
            <a:endParaRPr lang="de-DE" b="1" dirty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mos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hands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-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1475" y="0"/>
            <a:ext cx="8239125" cy="920750"/>
          </a:xfrm>
        </p:spPr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xmlns="" val="426180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Overview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s://docs.oracle.com/javafx/2/api/javafx/scene/doc-files/cssref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docs.oracle.com/javafx/2/api/javafx/fxml/doc-files/introduction_to_fxml.htm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Swing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wt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Java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https://docs.oracle.com/javafx/2/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multiplatform (see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luonhq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=&gt; desktop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android, </a:t>
            </a:r>
            <a:r>
              <a:rPr lang="en-US" sz="3000" baseline="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iOS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, Arm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ustom</a:t>
            </a:r>
            <a:r>
              <a:rPr lang="nl-NL" dirty="0" smtClean="0"/>
              <a:t> </a:t>
            </a:r>
            <a:r>
              <a:rPr lang="nl-NL" dirty="0" err="1" smtClean="0"/>
              <a:t>componen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4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7200" y="990600"/>
            <a:ext cx="8458200" cy="5257800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850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type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.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xmlns:f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http://javafx.com/fxml"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i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Button text="Click Me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onAc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#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/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gt;</a:t>
            </a:r>
          </a:p>
          <a:p>
            <a:pPr lvl="0">
              <a:spcBef>
                <a:spcPct val="0"/>
              </a:spcBef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public clas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tend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 private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loader =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Class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Resourc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_control.fxm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)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Controll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try {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loa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 } catch 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IO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ception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throw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Runtime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exception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String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get(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String value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set(value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tring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.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rotected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ystem.out.printl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The button was clicked!");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 text="Hello World!"/&gt;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trengths</a:t>
            </a:r>
            <a:r>
              <a:rPr lang="nl-NL" dirty="0" smtClean="0"/>
              <a:t> </a:t>
            </a:r>
            <a:r>
              <a:rPr lang="nl-NL" dirty="0" err="1" smtClean="0"/>
              <a:t>weakness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vc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eauty / fea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Jvm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ulti-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9530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Java in browser troub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Callback complex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Odd </a:t>
            </a:r>
            <a:r>
              <a:rPr lang="en-US" sz="3000" dirty="0" err="1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behaviour</a:t>
            </a: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 (sometimes)</a:t>
            </a: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Interoper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Node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FXPane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WebView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nage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://docs.oracle.com/javafx/2/get_started/basic_deployment.htm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github.com/javafx-maven-plug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://docs.oracle.com/javafx/2/deployment/self-contained-packaging.htm</a:t>
            </a: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3"/>
              </a:rPr>
              <a:t>https://github.com/edvin/fxlauncher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pring-boot</a:t>
            </a: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emo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8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cruitement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porting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tylesheet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utton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Hands-o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365250"/>
            <a:ext cx="8239125" cy="43497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tup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with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eneBuilder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Create a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J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avaFX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fxml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application project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Play arou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SceneBuilder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a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2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it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lone –b workshop 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https://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github.com/eduarddrenth/iText-GUI.git</a:t>
            </a:r>
            <a:endParaRPr lang="en-US" sz="2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open project in 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NetBeans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24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olve TODO’s in the project (action items search for TODO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heat: diff to develop </a:t>
            </a:r>
            <a:r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branche</a:t>
            </a:r>
            <a:endParaRPr kumimoji="0" lang="nl-NL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91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ulstWLE.CIbRIEUiEtg"/>
</p:tagLst>
</file>

<file path=ppt/theme/theme1.xml><?xml version="1.0" encoding="utf-8"?>
<a:theme xmlns:a="http://schemas.openxmlformats.org/drawingml/2006/main" name="CGI-beet-PPT-template_EN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E5F243641E7E4C92649845A0D853DB" ma:contentTypeVersion="0" ma:contentTypeDescription="Create a new document." ma:contentTypeScope="" ma:versionID="212a420232fce5dc7d9243822d3a4c4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46CD18-12AD-4AEC-8965-62D46F5CB212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FDB7DDE-87D9-442A-8DF7-AC524E66A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I-beet-PPT-template_EN</Template>
  <TotalTime>664</TotalTime>
  <Words>361</Words>
  <Application>Microsoft Office PowerPoint</Application>
  <PresentationFormat>On-screen Show (4:3)</PresentationFormat>
  <Paragraphs>99</Paragraphs>
  <Slides>10</Slides>
  <Notes>1</Notes>
  <HiddenSlides>6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CGI-beet-PPT-template_EN</vt:lpstr>
      <vt:lpstr>JavaFX  (not so) new GUI for Java</vt:lpstr>
      <vt:lpstr>Agenda</vt:lpstr>
      <vt:lpstr>Overview</vt:lpstr>
      <vt:lpstr>Custom components</vt:lpstr>
      <vt:lpstr>Strengths weaknesses</vt:lpstr>
      <vt:lpstr>Interoperability</vt:lpstr>
      <vt:lpstr>Manageability</vt:lpstr>
      <vt:lpstr>Demos</vt:lpstr>
      <vt:lpstr>Hands-on</vt:lpstr>
      <vt:lpstr>Our commitment to you We approach every engagement with one objective in mind: to help clients succeed</vt:lpstr>
    </vt:vector>
  </TitlesOfParts>
  <Company>CG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GP Demo Sprint 27 FlexOVL</dc:title>
  <dc:creator>karen.sellers</dc:creator>
  <cp:lastModifiedBy>Eduard</cp:lastModifiedBy>
  <cp:revision>1005</cp:revision>
  <cp:lastPrinted>2016-01-15T15:12:31Z</cp:lastPrinted>
  <dcterms:created xsi:type="dcterms:W3CDTF">2012-12-22T14:05:29Z</dcterms:created>
  <dcterms:modified xsi:type="dcterms:W3CDTF">2016-07-18T14:34:04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29E5F243641E7E4C92649845A0D853DB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  <property fmtid="{D5CDD505-2E9C-101B-9397-08002B2CF9AE}" pid="10" name="c5aebc35b3e840e5912c276ffe755dcf">
    <vt:lpwstr/>
  </property>
  <property fmtid="{D5CDD505-2E9C-101B-9397-08002B2CF9AE}" pid="11" name="Publication Date">
    <vt:lpwstr>2013-01-09T00:00:00+00:00</vt:lpwstr>
  </property>
  <property fmtid="{D5CDD505-2E9C-101B-9397-08002B2CF9AE}" pid="12" name="CSMeta2010Field">
    <vt:lpwstr>e3756241-2df6-41de-be5e-75b6e6bb08f6;2012-09-21 22:00:55;PENDINGCLASSIFICATION;False</vt:lpwstr>
  </property>
  <property fmtid="{D5CDD505-2E9C-101B-9397-08002B2CF9AE}" pid="13" name="Language">
    <vt:lpwstr>EN</vt:lpwstr>
  </property>
  <property fmtid="{D5CDD505-2E9C-101B-9397-08002B2CF9AE}" pid="14" name="Abstract">
    <vt:lpwstr>CGI-beet-option_EN</vt:lpwstr>
  </property>
  <property fmtid="{D5CDD505-2E9C-101B-9397-08002B2CF9AE}" pid="15" name="BS Document Sub Type">
    <vt:lpwstr>Business Aid</vt:lpwstr>
  </property>
  <property fmtid="{D5CDD505-2E9C-101B-9397-08002B2CF9AE}" pid="16" name="Best Before Date">
    <vt:lpwstr>2018-01-09T00:00:00+00:00</vt:lpwstr>
  </property>
  <property fmtid="{D5CDD505-2E9C-101B-9397-08002B2CF9AE}" pid="17" name="Published By">
    <vt:lpwstr>Stiller, Regina C55167</vt:lpwstr>
  </property>
  <property fmtid="{D5CDD505-2E9C-101B-9397-08002B2CF9AE}" pid="18" name="External Use">
    <vt:lpwstr>No</vt:lpwstr>
  </property>
  <property fmtid="{D5CDD505-2E9C-101B-9397-08002B2CF9AE}" pid="19" name="Owner Organisation">
    <vt:lpwstr>United States</vt:lpwstr>
  </property>
  <property fmtid="{D5CDD505-2E9C-101B-9397-08002B2CF9AE}" pid="20" name="c79d12643ffc4d60ab657aaa1718cc32">
    <vt:lpwstr>North America432c26d4-6fa6-4d6a-a083-35cd92b71c1e</vt:lpwstr>
  </property>
  <property fmtid="{D5CDD505-2E9C-101B-9397-08002B2CF9AE}" pid="21" name="p43f7bb208e443c9b50eb304fe6606a3">
    <vt:lpwstr/>
  </property>
  <property fmtid="{D5CDD505-2E9C-101B-9397-08002B2CF9AE}" pid="22" name="h4c66fbf292e4125b0e390af25f11c04">
    <vt:lpwstr/>
  </property>
  <property fmtid="{D5CDD505-2E9C-101B-9397-08002B2CF9AE}" pid="23" name="eafb632c3f5c40ba98242be6bbd6bb17">
    <vt:lpwstr/>
  </property>
  <property fmtid="{D5CDD505-2E9C-101B-9397-08002B2CF9AE}" pid="24" name="TaxCatchAll">
    <vt:lpwstr>36</vt:lpwstr>
  </property>
</Properties>
</file>